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70" autoAdjust="0"/>
    <p:restoredTop sz="94660"/>
  </p:normalViewPr>
  <p:slideViewPr>
    <p:cSldViewPr snapToGrid="0">
      <p:cViewPr varScale="1">
        <p:scale>
          <a:sx n="73" d="100"/>
          <a:sy n="73" d="100"/>
        </p:scale>
        <p:origin x="9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21326953580573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D$2:$D$262</c:f>
              <c:numCache>
                <c:formatCode>#,##0</c:formatCode>
                <c:ptCount val="261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9</c:v>
                </c:pt>
                <c:pt idx="61">
                  <c:v>574</c:v>
                </c:pt>
                <c:pt idx="62">
                  <c:v>602</c:v>
                </c:pt>
                <c:pt idx="63">
                  <c:v>624</c:v>
                </c:pt>
                <c:pt idx="64">
                  <c:v>603</c:v>
                </c:pt>
                <c:pt idx="65">
                  <c:v>594</c:v>
                </c:pt>
                <c:pt idx="66">
                  <c:v>602</c:v>
                </c:pt>
                <c:pt idx="67">
                  <c:v>583</c:v>
                </c:pt>
                <c:pt idx="68">
                  <c:v>582</c:v>
                </c:pt>
                <c:pt idx="69">
                  <c:v>608</c:v>
                </c:pt>
                <c:pt idx="70">
                  <c:v>603</c:v>
                </c:pt>
                <c:pt idx="71">
                  <c:v>580</c:v>
                </c:pt>
                <c:pt idx="72">
                  <c:v>556</c:v>
                </c:pt>
                <c:pt idx="73">
                  <c:v>544</c:v>
                </c:pt>
                <c:pt idx="74">
                  <c:v>525</c:v>
                </c:pt>
                <c:pt idx="75">
                  <c:v>515</c:v>
                </c:pt>
                <c:pt idx="76">
                  <c:v>501</c:v>
                </c:pt>
                <c:pt idx="77">
                  <c:v>469</c:v>
                </c:pt>
                <c:pt idx="78">
                  <c:v>470</c:v>
                </c:pt>
                <c:pt idx="79">
                  <c:v>464</c:v>
                </c:pt>
                <c:pt idx="80">
                  <c:v>444</c:v>
                </c:pt>
                <c:pt idx="81">
                  <c:v>449</c:v>
                </c:pt>
                <c:pt idx="82">
                  <c:v>446</c:v>
                </c:pt>
                <c:pt idx="83">
                  <c:v>436</c:v>
                </c:pt>
                <c:pt idx="84">
                  <c:v>404</c:v>
                </c:pt>
                <c:pt idx="85">
                  <c:v>388</c:v>
                </c:pt>
                <c:pt idx="86">
                  <c:v>393</c:v>
                </c:pt>
                <c:pt idx="87">
                  <c:v>366</c:v>
                </c:pt>
                <c:pt idx="88">
                  <c:v>355</c:v>
                </c:pt>
                <c:pt idx="89">
                  <c:v>338</c:v>
                </c:pt>
                <c:pt idx="90">
                  <c:v>346</c:v>
                </c:pt>
                <c:pt idx="91">
                  <c:v>318</c:v>
                </c:pt>
                <c:pt idx="92">
                  <c:v>304</c:v>
                </c:pt>
                <c:pt idx="93">
                  <c:v>292</c:v>
                </c:pt>
                <c:pt idx="94">
                  <c:v>290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8</c:v>
                </c:pt>
                <c:pt idx="101">
                  <c:v>308</c:v>
                </c:pt>
                <c:pt idx="102">
                  <c:v>304</c:v>
                </c:pt>
                <c:pt idx="103">
                  <c:v>302</c:v>
                </c:pt>
                <c:pt idx="104">
                  <c:v>312</c:v>
                </c:pt>
                <c:pt idx="105">
                  <c:v>308</c:v>
                </c:pt>
                <c:pt idx="106">
                  <c:v>312</c:v>
                </c:pt>
                <c:pt idx="107">
                  <c:v>302</c:v>
                </c:pt>
                <c:pt idx="108">
                  <c:v>312</c:v>
                </c:pt>
                <c:pt idx="109">
                  <c:v>307</c:v>
                </c:pt>
                <c:pt idx="110">
                  <c:v>301</c:v>
                </c:pt>
                <c:pt idx="111">
                  <c:v>306</c:v>
                </c:pt>
                <c:pt idx="112">
                  <c:v>319</c:v>
                </c:pt>
                <c:pt idx="113">
                  <c:v>332</c:v>
                </c:pt>
                <c:pt idx="114">
                  <c:v>320</c:v>
                </c:pt>
                <c:pt idx="115">
                  <c:v>331</c:v>
                </c:pt>
                <c:pt idx="116">
                  <c:v>350</c:v>
                </c:pt>
                <c:pt idx="117">
                  <c:v>369</c:v>
                </c:pt>
                <c:pt idx="118">
                  <c:v>391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5</c:v>
                </c:pt>
                <c:pt idx="123">
                  <c:v>456</c:v>
                </c:pt>
                <c:pt idx="124">
                  <c:v>475</c:v>
                </c:pt>
                <c:pt idx="125">
                  <c:v>512</c:v>
                </c:pt>
                <c:pt idx="126">
                  <c:v>535</c:v>
                </c:pt>
                <c:pt idx="127">
                  <c:v>554</c:v>
                </c:pt>
                <c:pt idx="128">
                  <c:v>565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7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1</c:v>
                </c:pt>
                <c:pt idx="152">
                  <c:v>528</c:v>
                </c:pt>
                <c:pt idx="153">
                  <c:v>546</c:v>
                </c:pt>
                <c:pt idx="154">
                  <c:v>530</c:v>
                </c:pt>
                <c:pt idx="155">
                  <c:v>530</c:v>
                </c:pt>
                <c:pt idx="156">
                  <c:v>547</c:v>
                </c:pt>
                <c:pt idx="157">
                  <c:v>540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6</c:v>
                </c:pt>
                <c:pt idx="162">
                  <c:v>522</c:v>
                </c:pt>
                <c:pt idx="163">
                  <c:v>544</c:v>
                </c:pt>
                <c:pt idx="164">
                  <c:v>554</c:v>
                </c:pt>
                <c:pt idx="165">
                  <c:v>559</c:v>
                </c:pt>
                <c:pt idx="166">
                  <c:v>578</c:v>
                </c:pt>
                <c:pt idx="167">
                  <c:v>568</c:v>
                </c:pt>
                <c:pt idx="168">
                  <c:v>592</c:v>
                </c:pt>
                <c:pt idx="169">
                  <c:v>606</c:v>
                </c:pt>
                <c:pt idx="170">
                  <c:v>616</c:v>
                </c:pt>
                <c:pt idx="171">
                  <c:v>635</c:v>
                </c:pt>
                <c:pt idx="172">
                  <c:v>655</c:v>
                </c:pt>
                <c:pt idx="173">
                  <c:v>663</c:v>
                </c:pt>
                <c:pt idx="174">
                  <c:v>680</c:v>
                </c:pt>
                <c:pt idx="175">
                  <c:v>694</c:v>
                </c:pt>
                <c:pt idx="176">
                  <c:v>681</c:v>
                </c:pt>
                <c:pt idx="177">
                  <c:v>729</c:v>
                </c:pt>
                <c:pt idx="178">
                  <c:v>722</c:v>
                </c:pt>
                <c:pt idx="179">
                  <c:v>715</c:v>
                </c:pt>
                <c:pt idx="180">
                  <c:v>740</c:v>
                </c:pt>
                <c:pt idx="181">
                  <c:v>781</c:v>
                </c:pt>
                <c:pt idx="182">
                  <c:v>799</c:v>
                </c:pt>
                <c:pt idx="183">
                  <c:v>805</c:v>
                </c:pt>
                <c:pt idx="184">
                  <c:v>827</c:v>
                </c:pt>
                <c:pt idx="185">
                  <c:v>842</c:v>
                </c:pt>
                <c:pt idx="186">
                  <c:v>851</c:v>
                </c:pt>
                <c:pt idx="187">
                  <c:v>870</c:v>
                </c:pt>
                <c:pt idx="188">
                  <c:v>919</c:v>
                </c:pt>
                <c:pt idx="189">
                  <c:v>908</c:v>
                </c:pt>
                <c:pt idx="190">
                  <c:v>914</c:v>
                </c:pt>
                <c:pt idx="191">
                  <c:v>915</c:v>
                </c:pt>
                <c:pt idx="192">
                  <c:v>926</c:v>
                </c:pt>
                <c:pt idx="193">
                  <c:v>910</c:v>
                </c:pt>
                <c:pt idx="194">
                  <c:v>936</c:v>
                </c:pt>
                <c:pt idx="195">
                  <c:v>941</c:v>
                </c:pt>
                <c:pt idx="196">
                  <c:v>927</c:v>
                </c:pt>
                <c:pt idx="197">
                  <c:v>925</c:v>
                </c:pt>
                <c:pt idx="198">
                  <c:v>951</c:v>
                </c:pt>
                <c:pt idx="199">
                  <c:v>943</c:v>
                </c:pt>
                <c:pt idx="200">
                  <c:v>937</c:v>
                </c:pt>
                <c:pt idx="201">
                  <c:v>932</c:v>
                </c:pt>
                <c:pt idx="202">
                  <c:v>971</c:v>
                </c:pt>
                <c:pt idx="203">
                  <c:v>930</c:v>
                </c:pt>
                <c:pt idx="204">
                  <c:v>922</c:v>
                </c:pt>
                <c:pt idx="207">
                  <c:v>876</c:v>
                </c:pt>
                <c:pt idx="208">
                  <c:v>861</c:v>
                </c:pt>
                <c:pt idx="209">
                  <c:v>865</c:v>
                </c:pt>
                <c:pt idx="210">
                  <c:v>838</c:v>
                </c:pt>
                <c:pt idx="211">
                  <c:v>811</c:v>
                </c:pt>
                <c:pt idx="212">
                  <c:v>787</c:v>
                </c:pt>
                <c:pt idx="213">
                  <c:v>760</c:v>
                </c:pt>
                <c:pt idx="214">
                  <c:v>723</c:v>
                </c:pt>
                <c:pt idx="215">
                  <c:v>712</c:v>
                </c:pt>
                <c:pt idx="216">
                  <c:v>708</c:v>
                </c:pt>
                <c:pt idx="217">
                  <c:v>729</c:v>
                </c:pt>
                <c:pt idx="218">
                  <c:v>703</c:v>
                </c:pt>
                <c:pt idx="219">
                  <c:v>669</c:v>
                </c:pt>
                <c:pt idx="220">
                  <c:v>625</c:v>
                </c:pt>
                <c:pt idx="221">
                  <c:v>602</c:v>
                </c:pt>
                <c:pt idx="222">
                  <c:v>602</c:v>
                </c:pt>
                <c:pt idx="223">
                  <c:v>594</c:v>
                </c:pt>
                <c:pt idx="224">
                  <c:v>571</c:v>
                </c:pt>
                <c:pt idx="225">
                  <c:v>538</c:v>
                </c:pt>
                <c:pt idx="226">
                  <c:v>521</c:v>
                </c:pt>
                <c:pt idx="227">
                  <c:v>516</c:v>
                </c:pt>
                <c:pt idx="228">
                  <c:v>488</c:v>
                </c:pt>
                <c:pt idx="229">
                  <c:v>493</c:v>
                </c:pt>
                <c:pt idx="230">
                  <c:v>491</c:v>
                </c:pt>
                <c:pt idx="231">
                  <c:v>474</c:v>
                </c:pt>
                <c:pt idx="232">
                  <c:v>462</c:v>
                </c:pt>
                <c:pt idx="233">
                  <c:v>416</c:v>
                </c:pt>
                <c:pt idx="234">
                  <c:v>400</c:v>
                </c:pt>
                <c:pt idx="235">
                  <c:v>376</c:v>
                </c:pt>
                <c:pt idx="236">
                  <c:v>370</c:v>
                </c:pt>
                <c:pt idx="237">
                  <c:v>360</c:v>
                </c:pt>
                <c:pt idx="238">
                  <c:v>358</c:v>
                </c:pt>
                <c:pt idx="239">
                  <c:v>332</c:v>
                </c:pt>
                <c:pt idx="240">
                  <c:v>301</c:v>
                </c:pt>
                <c:pt idx="241">
                  <c:v>277</c:v>
                </c:pt>
                <c:pt idx="242">
                  <c:v>261</c:v>
                </c:pt>
                <c:pt idx="243">
                  <c:v>267</c:v>
                </c:pt>
                <c:pt idx="244">
                  <c:v>265</c:v>
                </c:pt>
                <c:pt idx="245">
                  <c:v>253</c:v>
                </c:pt>
                <c:pt idx="246">
                  <c:v>235</c:v>
                </c:pt>
                <c:pt idx="247">
                  <c:v>220</c:v>
                </c:pt>
                <c:pt idx="248">
                  <c:v>203</c:v>
                </c:pt>
                <c:pt idx="249">
                  <c:v>186</c:v>
                </c:pt>
                <c:pt idx="250">
                  <c:v>184</c:v>
                </c:pt>
                <c:pt idx="251">
                  <c:v>186</c:v>
                </c:pt>
                <c:pt idx="252">
                  <c:v>164</c:v>
                </c:pt>
                <c:pt idx="253">
                  <c:v>153</c:v>
                </c:pt>
                <c:pt idx="254">
                  <c:v>148</c:v>
                </c:pt>
                <c:pt idx="255">
                  <c:v>134</c:v>
                </c:pt>
                <c:pt idx="256">
                  <c:v>119</c:v>
                </c:pt>
                <c:pt idx="257">
                  <c:v>119</c:v>
                </c:pt>
                <c:pt idx="258">
                  <c:v>112</c:v>
                </c:pt>
                <c:pt idx="259">
                  <c:v>111</c:v>
                </c:pt>
                <c:pt idx="260">
                  <c:v>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45"/>
              <c:layout>
                <c:manualLayout>
                  <c:x val="-6.4755776393715121E-3"/>
                  <c:y val="-4.583055162334306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5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B$2:$B$262</c:f>
              <c:numCache>
                <c:formatCode>#,##0</c:formatCode>
                <c:ptCount val="261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  <c:pt idx="204">
                  <c:v>549</c:v>
                </c:pt>
                <c:pt idx="207">
                  <c:v>388</c:v>
                </c:pt>
                <c:pt idx="208">
                  <c:v>383</c:v>
                </c:pt>
                <c:pt idx="209">
                  <c:v>346</c:v>
                </c:pt>
                <c:pt idx="210">
                  <c:v>364</c:v>
                </c:pt>
                <c:pt idx="211">
                  <c:v>402</c:v>
                </c:pt>
                <c:pt idx="212">
                  <c:v>390</c:v>
                </c:pt>
                <c:pt idx="213">
                  <c:v>423</c:v>
                </c:pt>
                <c:pt idx="214">
                  <c:v>464</c:v>
                </c:pt>
                <c:pt idx="215">
                  <c:v>456</c:v>
                </c:pt>
                <c:pt idx="216">
                  <c:v>454</c:v>
                </c:pt>
                <c:pt idx="217">
                  <c:v>470</c:v>
                </c:pt>
                <c:pt idx="218">
                  <c:v>444</c:v>
                </c:pt>
                <c:pt idx="219">
                  <c:v>453</c:v>
                </c:pt>
                <c:pt idx="220">
                  <c:v>460</c:v>
                </c:pt>
                <c:pt idx="221">
                  <c:v>460</c:v>
                </c:pt>
                <c:pt idx="222">
                  <c:v>456</c:v>
                </c:pt>
                <c:pt idx="223">
                  <c:v>475</c:v>
                </c:pt>
                <c:pt idx="224">
                  <c:v>498</c:v>
                </c:pt>
                <c:pt idx="225">
                  <c:v>514</c:v>
                </c:pt>
                <c:pt idx="226">
                  <c:v>531</c:v>
                </c:pt>
                <c:pt idx="227">
                  <c:v>544</c:v>
                </c:pt>
                <c:pt idx="228">
                  <c:v>531</c:v>
                </c:pt>
                <c:pt idx="229">
                  <c:v>528</c:v>
                </c:pt>
                <c:pt idx="230">
                  <c:v>552</c:v>
                </c:pt>
                <c:pt idx="231">
                  <c:v>593</c:v>
                </c:pt>
                <c:pt idx="232">
                  <c:v>554</c:v>
                </c:pt>
                <c:pt idx="233">
                  <c:v>595</c:v>
                </c:pt>
                <c:pt idx="234">
                  <c:v>613</c:v>
                </c:pt>
                <c:pt idx="235">
                  <c:v>618</c:v>
                </c:pt>
                <c:pt idx="236">
                  <c:v>617</c:v>
                </c:pt>
                <c:pt idx="237">
                  <c:v>605</c:v>
                </c:pt>
                <c:pt idx="238">
                  <c:v>586</c:v>
                </c:pt>
                <c:pt idx="239">
                  <c:v>613</c:v>
                </c:pt>
                <c:pt idx="240">
                  <c:v>620</c:v>
                </c:pt>
                <c:pt idx="241">
                  <c:v>632</c:v>
                </c:pt>
                <c:pt idx="242">
                  <c:v>652</c:v>
                </c:pt>
                <c:pt idx="243">
                  <c:v>657</c:v>
                </c:pt>
                <c:pt idx="244">
                  <c:v>642</c:v>
                </c:pt>
                <c:pt idx="245">
                  <c:v>617</c:v>
                </c:pt>
                <c:pt idx="246">
                  <c:v>625</c:v>
                </c:pt>
                <c:pt idx="247">
                  <c:v>645</c:v>
                </c:pt>
                <c:pt idx="248">
                  <c:v>650</c:v>
                </c:pt>
                <c:pt idx="249">
                  <c:v>639</c:v>
                </c:pt>
                <c:pt idx="250">
                  <c:v>643</c:v>
                </c:pt>
                <c:pt idx="251">
                  <c:v>651</c:v>
                </c:pt>
                <c:pt idx="252">
                  <c:v>663</c:v>
                </c:pt>
                <c:pt idx="253">
                  <c:v>669</c:v>
                </c:pt>
                <c:pt idx="254">
                  <c:v>662</c:v>
                </c:pt>
                <c:pt idx="255">
                  <c:v>673</c:v>
                </c:pt>
                <c:pt idx="256">
                  <c:v>669</c:v>
                </c:pt>
                <c:pt idx="257">
                  <c:v>675</c:v>
                </c:pt>
                <c:pt idx="258">
                  <c:v>681</c:v>
                </c:pt>
                <c:pt idx="259">
                  <c:v>669</c:v>
                </c:pt>
                <c:pt idx="260">
                  <c:v>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C$2:$C$262</c:f>
              <c:numCache>
                <c:formatCode>#,##0</c:formatCode>
                <c:ptCount val="26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10016873232942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D$2:$D$262</c:f>
              <c:numCache>
                <c:formatCode>#,##0</c:formatCode>
                <c:ptCount val="261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5</c:v>
                </c:pt>
                <c:pt idx="43">
                  <c:v>1321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7</c:v>
                </c:pt>
                <c:pt idx="52">
                  <c:v>2379</c:v>
                </c:pt>
                <c:pt idx="53">
                  <c:v>2494</c:v>
                </c:pt>
                <c:pt idx="54">
                  <c:v>2631</c:v>
                </c:pt>
                <c:pt idx="55">
                  <c:v>2836</c:v>
                </c:pt>
                <c:pt idx="56">
                  <c:v>2972</c:v>
                </c:pt>
                <c:pt idx="57">
                  <c:v>3035</c:v>
                </c:pt>
                <c:pt idx="58">
                  <c:v>3251</c:v>
                </c:pt>
                <c:pt idx="59">
                  <c:v>3298</c:v>
                </c:pt>
                <c:pt idx="60">
                  <c:v>3360</c:v>
                </c:pt>
                <c:pt idx="61">
                  <c:v>3443</c:v>
                </c:pt>
                <c:pt idx="62">
                  <c:v>3561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4</c:v>
                </c:pt>
                <c:pt idx="67">
                  <c:v>3349</c:v>
                </c:pt>
                <c:pt idx="68">
                  <c:v>3353</c:v>
                </c:pt>
                <c:pt idx="69">
                  <c:v>3289</c:v>
                </c:pt>
                <c:pt idx="70">
                  <c:v>3194</c:v>
                </c:pt>
                <c:pt idx="71">
                  <c:v>2966</c:v>
                </c:pt>
                <c:pt idx="72">
                  <c:v>2889</c:v>
                </c:pt>
                <c:pt idx="73">
                  <c:v>2749</c:v>
                </c:pt>
                <c:pt idx="74">
                  <c:v>2629</c:v>
                </c:pt>
                <c:pt idx="75">
                  <c:v>2554</c:v>
                </c:pt>
                <c:pt idx="76">
                  <c:v>2560</c:v>
                </c:pt>
                <c:pt idx="77">
                  <c:v>2485</c:v>
                </c:pt>
                <c:pt idx="78">
                  <c:v>2442</c:v>
                </c:pt>
                <c:pt idx="79">
                  <c:v>2363</c:v>
                </c:pt>
                <c:pt idx="80">
                  <c:v>2266</c:v>
                </c:pt>
                <c:pt idx="81">
                  <c:v>2143</c:v>
                </c:pt>
                <c:pt idx="82">
                  <c:v>2128</c:v>
                </c:pt>
                <c:pt idx="83">
                  <c:v>2157</c:v>
                </c:pt>
                <c:pt idx="84">
                  <c:v>2096</c:v>
                </c:pt>
                <c:pt idx="85">
                  <c:v>2022</c:v>
                </c:pt>
                <c:pt idx="86">
                  <c:v>1932</c:v>
                </c:pt>
                <c:pt idx="87">
                  <c:v>1808</c:v>
                </c:pt>
                <c:pt idx="88">
                  <c:v>1504</c:v>
                </c:pt>
                <c:pt idx="89">
                  <c:v>1544</c:v>
                </c:pt>
                <c:pt idx="90">
                  <c:v>1539</c:v>
                </c:pt>
                <c:pt idx="91">
                  <c:v>1529</c:v>
                </c:pt>
                <c:pt idx="92">
                  <c:v>1470</c:v>
                </c:pt>
                <c:pt idx="93">
                  <c:v>1463</c:v>
                </c:pt>
                <c:pt idx="94">
                  <c:v>1493</c:v>
                </c:pt>
                <c:pt idx="95">
                  <c:v>1479</c:v>
                </c:pt>
                <c:pt idx="96">
                  <c:v>1506</c:v>
                </c:pt>
                <c:pt idx="97">
                  <c:v>1555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89</c:v>
                </c:pt>
                <c:pt idx="107">
                  <c:v>1651</c:v>
                </c:pt>
                <c:pt idx="108">
                  <c:v>1653</c:v>
                </c:pt>
                <c:pt idx="109">
                  <c:v>1645</c:v>
                </c:pt>
                <c:pt idx="110">
                  <c:v>1680</c:v>
                </c:pt>
                <c:pt idx="111">
                  <c:v>1680</c:v>
                </c:pt>
                <c:pt idx="112">
                  <c:v>1715</c:v>
                </c:pt>
                <c:pt idx="113">
                  <c:v>1737</c:v>
                </c:pt>
                <c:pt idx="114">
                  <c:v>1647</c:v>
                </c:pt>
                <c:pt idx="115">
                  <c:v>1750</c:v>
                </c:pt>
                <c:pt idx="116">
                  <c:v>1862</c:v>
                </c:pt>
                <c:pt idx="117">
                  <c:v>1988</c:v>
                </c:pt>
                <c:pt idx="118">
                  <c:v>2297</c:v>
                </c:pt>
                <c:pt idx="119">
                  <c:v>2357</c:v>
                </c:pt>
                <c:pt idx="120">
                  <c:v>2480</c:v>
                </c:pt>
                <c:pt idx="121">
                  <c:v>2501</c:v>
                </c:pt>
                <c:pt idx="122">
                  <c:v>2500</c:v>
                </c:pt>
                <c:pt idx="123">
                  <c:v>2685</c:v>
                </c:pt>
                <c:pt idx="124">
                  <c:v>2801</c:v>
                </c:pt>
                <c:pt idx="125">
                  <c:v>3024</c:v>
                </c:pt>
                <c:pt idx="126">
                  <c:v>3052</c:v>
                </c:pt>
                <c:pt idx="127">
                  <c:v>3084</c:v>
                </c:pt>
                <c:pt idx="128">
                  <c:v>3077</c:v>
                </c:pt>
                <c:pt idx="129">
                  <c:v>2935</c:v>
                </c:pt>
                <c:pt idx="130">
                  <c:v>2966</c:v>
                </c:pt>
                <c:pt idx="131">
                  <c:v>2973</c:v>
                </c:pt>
                <c:pt idx="132">
                  <c:v>2975</c:v>
                </c:pt>
                <c:pt idx="133">
                  <c:v>3043</c:v>
                </c:pt>
                <c:pt idx="134">
                  <c:v>2965</c:v>
                </c:pt>
                <c:pt idx="135">
                  <c:v>2925</c:v>
                </c:pt>
                <c:pt idx="136">
                  <c:v>2873</c:v>
                </c:pt>
                <c:pt idx="137">
                  <c:v>2758</c:v>
                </c:pt>
                <c:pt idx="138">
                  <c:v>2745</c:v>
                </c:pt>
                <c:pt idx="139">
                  <c:v>2703</c:v>
                </c:pt>
                <c:pt idx="140">
                  <c:v>2640</c:v>
                </c:pt>
                <c:pt idx="141">
                  <c:v>2595</c:v>
                </c:pt>
                <c:pt idx="142">
                  <c:v>2590</c:v>
                </c:pt>
                <c:pt idx="143">
                  <c:v>2555</c:v>
                </c:pt>
                <c:pt idx="144">
                  <c:v>2521</c:v>
                </c:pt>
                <c:pt idx="145">
                  <c:v>2522</c:v>
                </c:pt>
                <c:pt idx="146">
                  <c:v>2544</c:v>
                </c:pt>
                <c:pt idx="147">
                  <c:v>2526</c:v>
                </c:pt>
                <c:pt idx="148">
                  <c:v>2417</c:v>
                </c:pt>
                <c:pt idx="149">
                  <c:v>2360</c:v>
                </c:pt>
                <c:pt idx="150">
                  <c:v>2342</c:v>
                </c:pt>
                <c:pt idx="151">
                  <c:v>2377</c:v>
                </c:pt>
                <c:pt idx="152">
                  <c:v>2373</c:v>
                </c:pt>
                <c:pt idx="153">
                  <c:v>2456</c:v>
                </c:pt>
                <c:pt idx="154">
                  <c:v>2392</c:v>
                </c:pt>
                <c:pt idx="155">
                  <c:v>2414</c:v>
                </c:pt>
                <c:pt idx="156">
                  <c:v>2394</c:v>
                </c:pt>
                <c:pt idx="157">
                  <c:v>2367</c:v>
                </c:pt>
                <c:pt idx="158">
                  <c:v>2345</c:v>
                </c:pt>
                <c:pt idx="159">
                  <c:v>2410</c:v>
                </c:pt>
                <c:pt idx="160">
                  <c:v>2473</c:v>
                </c:pt>
                <c:pt idx="161">
                  <c:v>2489</c:v>
                </c:pt>
                <c:pt idx="162">
                  <c:v>2420</c:v>
                </c:pt>
                <c:pt idx="163">
                  <c:v>2453</c:v>
                </c:pt>
                <c:pt idx="164">
                  <c:v>2405</c:v>
                </c:pt>
                <c:pt idx="165">
                  <c:v>2472</c:v>
                </c:pt>
                <c:pt idx="166">
                  <c:v>2590</c:v>
                </c:pt>
                <c:pt idx="167">
                  <c:v>2623</c:v>
                </c:pt>
                <c:pt idx="168">
                  <c:v>2653</c:v>
                </c:pt>
                <c:pt idx="169">
                  <c:v>2717</c:v>
                </c:pt>
                <c:pt idx="170">
                  <c:v>2757</c:v>
                </c:pt>
                <c:pt idx="171">
                  <c:v>2678</c:v>
                </c:pt>
                <c:pt idx="172">
                  <c:v>2687</c:v>
                </c:pt>
                <c:pt idx="173">
                  <c:v>2808</c:v>
                </c:pt>
                <c:pt idx="174">
                  <c:v>3001</c:v>
                </c:pt>
                <c:pt idx="175">
                  <c:v>3018</c:v>
                </c:pt>
                <c:pt idx="176">
                  <c:v>3029</c:v>
                </c:pt>
                <c:pt idx="177">
                  <c:v>3039</c:v>
                </c:pt>
                <c:pt idx="178">
                  <c:v>3125</c:v>
                </c:pt>
                <c:pt idx="179">
                  <c:v>3231</c:v>
                </c:pt>
                <c:pt idx="180">
                  <c:v>3369</c:v>
                </c:pt>
                <c:pt idx="181">
                  <c:v>3574</c:v>
                </c:pt>
                <c:pt idx="182">
                  <c:v>3618</c:v>
                </c:pt>
                <c:pt idx="183">
                  <c:v>3594</c:v>
                </c:pt>
                <c:pt idx="184">
                  <c:v>3677</c:v>
                </c:pt>
                <c:pt idx="185">
                  <c:v>3706</c:v>
                </c:pt>
                <c:pt idx="186">
                  <c:v>3784</c:v>
                </c:pt>
                <c:pt idx="187">
                  <c:v>3873</c:v>
                </c:pt>
                <c:pt idx="188">
                  <c:v>3924</c:v>
                </c:pt>
                <c:pt idx="189">
                  <c:v>3940</c:v>
                </c:pt>
                <c:pt idx="190">
                  <c:v>3955</c:v>
                </c:pt>
                <c:pt idx="191">
                  <c:v>3922</c:v>
                </c:pt>
                <c:pt idx="192">
                  <c:v>3859</c:v>
                </c:pt>
                <c:pt idx="193">
                  <c:v>3972</c:v>
                </c:pt>
                <c:pt idx="194">
                  <c:v>4040</c:v>
                </c:pt>
                <c:pt idx="195">
                  <c:v>4183</c:v>
                </c:pt>
                <c:pt idx="196">
                  <c:v>4101</c:v>
                </c:pt>
                <c:pt idx="197">
                  <c:v>4022</c:v>
                </c:pt>
                <c:pt idx="198">
                  <c:v>3994</c:v>
                </c:pt>
                <c:pt idx="199">
                  <c:v>3792</c:v>
                </c:pt>
                <c:pt idx="200">
                  <c:v>3717</c:v>
                </c:pt>
                <c:pt idx="201">
                  <c:v>3794</c:v>
                </c:pt>
                <c:pt idx="202">
                  <c:v>3810</c:v>
                </c:pt>
                <c:pt idx="203">
                  <c:v>3680</c:v>
                </c:pt>
                <c:pt idx="204">
                  <c:v>3536</c:v>
                </c:pt>
                <c:pt idx="207">
                  <c:v>3354</c:v>
                </c:pt>
                <c:pt idx="208">
                  <c:v>3383</c:v>
                </c:pt>
                <c:pt idx="209">
                  <c:v>3356</c:v>
                </c:pt>
                <c:pt idx="210">
                  <c:v>3280</c:v>
                </c:pt>
                <c:pt idx="211">
                  <c:v>3145</c:v>
                </c:pt>
                <c:pt idx="212">
                  <c:v>2997</c:v>
                </c:pt>
                <c:pt idx="213">
                  <c:v>2811</c:v>
                </c:pt>
                <c:pt idx="214">
                  <c:v>2768</c:v>
                </c:pt>
                <c:pt idx="215">
                  <c:v>2829</c:v>
                </c:pt>
                <c:pt idx="216">
                  <c:v>2842</c:v>
                </c:pt>
                <c:pt idx="217">
                  <c:v>3040</c:v>
                </c:pt>
                <c:pt idx="218">
                  <c:v>2863</c:v>
                </c:pt>
                <c:pt idx="219">
                  <c:v>2685</c:v>
                </c:pt>
                <c:pt idx="220">
                  <c:v>2415</c:v>
                </c:pt>
                <c:pt idx="221">
                  <c:v>2319</c:v>
                </c:pt>
                <c:pt idx="222">
                  <c:v>2334</c:v>
                </c:pt>
                <c:pt idx="223">
                  <c:v>2329</c:v>
                </c:pt>
                <c:pt idx="224">
                  <c:v>2234</c:v>
                </c:pt>
                <c:pt idx="225">
                  <c:v>2104</c:v>
                </c:pt>
                <c:pt idx="226">
                  <c:v>1926</c:v>
                </c:pt>
                <c:pt idx="227">
                  <c:v>1779</c:v>
                </c:pt>
                <c:pt idx="228">
                  <c:v>1745</c:v>
                </c:pt>
                <c:pt idx="229">
                  <c:v>1752</c:v>
                </c:pt>
                <c:pt idx="230">
                  <c:v>1807</c:v>
                </c:pt>
                <c:pt idx="231">
                  <c:v>1705</c:v>
                </c:pt>
                <c:pt idx="232">
                  <c:v>1610</c:v>
                </c:pt>
                <c:pt idx="233">
                  <c:v>1522</c:v>
                </c:pt>
                <c:pt idx="234">
                  <c:v>1421</c:v>
                </c:pt>
                <c:pt idx="235">
                  <c:v>1352</c:v>
                </c:pt>
                <c:pt idx="236">
                  <c:v>1349</c:v>
                </c:pt>
                <c:pt idx="237">
                  <c:v>1296</c:v>
                </c:pt>
                <c:pt idx="238">
                  <c:v>1272</c:v>
                </c:pt>
                <c:pt idx="239">
                  <c:v>1231</c:v>
                </c:pt>
                <c:pt idx="240">
                  <c:v>1175</c:v>
                </c:pt>
                <c:pt idx="241">
                  <c:v>1127</c:v>
                </c:pt>
                <c:pt idx="242">
                  <c:v>1135</c:v>
                </c:pt>
                <c:pt idx="243">
                  <c:v>1128</c:v>
                </c:pt>
                <c:pt idx="244">
                  <c:v>1123</c:v>
                </c:pt>
                <c:pt idx="245">
                  <c:v>1054</c:v>
                </c:pt>
                <c:pt idx="246">
                  <c:v>990</c:v>
                </c:pt>
                <c:pt idx="247">
                  <c:v>917</c:v>
                </c:pt>
                <c:pt idx="248">
                  <c:v>852</c:v>
                </c:pt>
                <c:pt idx="249">
                  <c:v>809</c:v>
                </c:pt>
                <c:pt idx="250">
                  <c:v>810</c:v>
                </c:pt>
                <c:pt idx="251">
                  <c:v>773</c:v>
                </c:pt>
                <c:pt idx="252">
                  <c:v>725</c:v>
                </c:pt>
                <c:pt idx="253">
                  <c:v>656</c:v>
                </c:pt>
                <c:pt idx="254">
                  <c:v>638</c:v>
                </c:pt>
                <c:pt idx="255">
                  <c:v>617</c:v>
                </c:pt>
                <c:pt idx="256">
                  <c:v>555</c:v>
                </c:pt>
                <c:pt idx="257">
                  <c:v>552</c:v>
                </c:pt>
                <c:pt idx="258">
                  <c:v>518</c:v>
                </c:pt>
                <c:pt idx="259">
                  <c:v>474</c:v>
                </c:pt>
                <c:pt idx="260">
                  <c:v>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3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0756781770201477E-2"/>
                      <c:h val="7.9078959092664172E-2"/>
                    </c:manualLayout>
                  </c15:layout>
                </c:ext>
              </c:extLst>
            </c:dLbl>
            <c:dLbl>
              <c:idx val="246"/>
              <c:layout>
                <c:manualLayout>
                  <c:x val="0"/>
                  <c:y val="-5.38868545776246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  <a:r>
                      <a:rPr lang="en-US" baseline="0" dirty="0"/>
                      <a:t> 22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B$2:$B$262</c:f>
              <c:numCache>
                <c:formatCode>#,##0</c:formatCode>
                <c:ptCount val="261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7722</c:v>
                </c:pt>
                <c:pt idx="60">
                  <c:v>7620</c:v>
                </c:pt>
                <c:pt idx="61">
                  <c:v>7535</c:v>
                </c:pt>
                <c:pt idx="62">
                  <c:v>7216</c:v>
                </c:pt>
                <c:pt idx="63">
                  <c:v>7090</c:v>
                </c:pt>
                <c:pt idx="64">
                  <c:v>7085</c:v>
                </c:pt>
                <c:pt idx="65">
                  <c:v>7121</c:v>
                </c:pt>
                <c:pt idx="66">
                  <c:v>7293</c:v>
                </c:pt>
                <c:pt idx="67">
                  <c:v>7506</c:v>
                </c:pt>
                <c:pt idx="68">
                  <c:v>7478</c:v>
                </c:pt>
                <c:pt idx="69">
                  <c:v>7198</c:v>
                </c:pt>
                <c:pt idx="70">
                  <c:v>6946</c:v>
                </c:pt>
                <c:pt idx="71">
                  <c:v>6789</c:v>
                </c:pt>
                <c:pt idx="72">
                  <c:v>6717</c:v>
                </c:pt>
                <c:pt idx="73">
                  <c:v>6812</c:v>
                </c:pt>
                <c:pt idx="74">
                  <c:v>7056</c:v>
                </c:pt>
                <c:pt idx="75">
                  <c:v>7116</c:v>
                </c:pt>
                <c:pt idx="76">
                  <c:v>7029</c:v>
                </c:pt>
                <c:pt idx="77">
                  <c:v>7176</c:v>
                </c:pt>
                <c:pt idx="78">
                  <c:v>6928</c:v>
                </c:pt>
                <c:pt idx="79">
                  <c:v>6611</c:v>
                </c:pt>
                <c:pt idx="80">
                  <c:v>6876</c:v>
                </c:pt>
                <c:pt idx="81">
                  <c:v>7187</c:v>
                </c:pt>
                <c:pt idx="82">
                  <c:v>7176</c:v>
                </c:pt>
                <c:pt idx="83">
                  <c:v>6774</c:v>
                </c:pt>
                <c:pt idx="84">
                  <c:v>6591</c:v>
                </c:pt>
                <c:pt idx="85">
                  <c:v>6440</c:v>
                </c:pt>
                <c:pt idx="86">
                  <c:v>6558</c:v>
                </c:pt>
                <c:pt idx="87">
                  <c:v>6776</c:v>
                </c:pt>
                <c:pt idx="88">
                  <c:v>7102</c:v>
                </c:pt>
                <c:pt idx="89">
                  <c:v>6937</c:v>
                </c:pt>
                <c:pt idx="90">
                  <c:v>6713</c:v>
                </c:pt>
                <c:pt idx="91">
                  <c:v>6539</c:v>
                </c:pt>
                <c:pt idx="92">
                  <c:v>6499</c:v>
                </c:pt>
                <c:pt idx="93">
                  <c:v>6361</c:v>
                </c:pt>
                <c:pt idx="94">
                  <c:v>6588</c:v>
                </c:pt>
                <c:pt idx="95">
                  <c:v>6880</c:v>
                </c:pt>
                <c:pt idx="96">
                  <c:v>6798</c:v>
                </c:pt>
                <c:pt idx="97">
                  <c:v>6534</c:v>
                </c:pt>
                <c:pt idx="98">
                  <c:v>6218</c:v>
                </c:pt>
                <c:pt idx="99">
                  <c:v>6057</c:v>
                </c:pt>
                <c:pt idx="100">
                  <c:v>5839</c:v>
                </c:pt>
                <c:pt idx="101">
                  <c:v>6239</c:v>
                </c:pt>
                <c:pt idx="102">
                  <c:v>6584</c:v>
                </c:pt>
                <c:pt idx="103">
                  <c:v>6689</c:v>
                </c:pt>
                <c:pt idx="104">
                  <c:v>6329</c:v>
                </c:pt>
                <c:pt idx="105">
                  <c:v>6187</c:v>
                </c:pt>
                <c:pt idx="106">
                  <c:v>6016</c:v>
                </c:pt>
                <c:pt idx="107">
                  <c:v>6079</c:v>
                </c:pt>
                <c:pt idx="108">
                  <c:v>6390</c:v>
                </c:pt>
                <c:pt idx="109">
                  <c:v>7001</c:v>
                </c:pt>
                <c:pt idx="110">
                  <c:v>6923</c:v>
                </c:pt>
                <c:pt idx="111">
                  <c:v>6715</c:v>
                </c:pt>
                <c:pt idx="112">
                  <c:v>7026</c:v>
                </c:pt>
                <c:pt idx="113">
                  <c:v>7756</c:v>
                </c:pt>
                <c:pt idx="114">
                  <c:v>8241</c:v>
                </c:pt>
                <c:pt idx="115">
                  <c:v>8278</c:v>
                </c:pt>
                <c:pt idx="116">
                  <c:v>8026</c:v>
                </c:pt>
                <c:pt idx="117">
                  <c:v>7626</c:v>
                </c:pt>
                <c:pt idx="118">
                  <c:v>6892</c:v>
                </c:pt>
                <c:pt idx="119">
                  <c:v>6611</c:v>
                </c:pt>
                <c:pt idx="120">
                  <c:v>6536</c:v>
                </c:pt>
                <c:pt idx="121">
                  <c:v>6823</c:v>
                </c:pt>
                <c:pt idx="122">
                  <c:v>7074</c:v>
                </c:pt>
                <c:pt idx="123">
                  <c:v>6801</c:v>
                </c:pt>
                <c:pt idx="124">
                  <c:v>6380</c:v>
                </c:pt>
                <c:pt idx="125">
                  <c:v>5891</c:v>
                </c:pt>
                <c:pt idx="126">
                  <c:v>5626</c:v>
                </c:pt>
                <c:pt idx="127">
                  <c:v>5545</c:v>
                </c:pt>
                <c:pt idx="128">
                  <c:v>5523</c:v>
                </c:pt>
                <c:pt idx="129">
                  <c:v>5704</c:v>
                </c:pt>
                <c:pt idx="130">
                  <c:v>6175</c:v>
                </c:pt>
                <c:pt idx="131">
                  <c:v>6044</c:v>
                </c:pt>
                <c:pt idx="132">
                  <c:v>5711</c:v>
                </c:pt>
                <c:pt idx="133">
                  <c:v>5576</c:v>
                </c:pt>
                <c:pt idx="134">
                  <c:v>5644</c:v>
                </c:pt>
                <c:pt idx="135">
                  <c:v>5499</c:v>
                </c:pt>
                <c:pt idx="136">
                  <c:v>5803</c:v>
                </c:pt>
                <c:pt idx="137">
                  <c:v>6140</c:v>
                </c:pt>
                <c:pt idx="138">
                  <c:v>6093</c:v>
                </c:pt>
                <c:pt idx="139">
                  <c:v>5870</c:v>
                </c:pt>
                <c:pt idx="140">
                  <c:v>5854</c:v>
                </c:pt>
                <c:pt idx="141">
                  <c:v>5899</c:v>
                </c:pt>
                <c:pt idx="142">
                  <c:v>5776</c:v>
                </c:pt>
                <c:pt idx="143">
                  <c:v>6024</c:v>
                </c:pt>
                <c:pt idx="144">
                  <c:v>6232</c:v>
                </c:pt>
                <c:pt idx="145">
                  <c:v>6179</c:v>
                </c:pt>
                <c:pt idx="146">
                  <c:v>5805</c:v>
                </c:pt>
                <c:pt idx="147">
                  <c:v>5737</c:v>
                </c:pt>
                <c:pt idx="148">
                  <c:v>5724</c:v>
                </c:pt>
                <c:pt idx="149">
                  <c:v>5700</c:v>
                </c:pt>
                <c:pt idx="150">
                  <c:v>5983</c:v>
                </c:pt>
                <c:pt idx="151">
                  <c:v>6522</c:v>
                </c:pt>
                <c:pt idx="152">
                  <c:v>6366</c:v>
                </c:pt>
                <c:pt idx="153">
                  <c:v>6063</c:v>
                </c:pt>
                <c:pt idx="154">
                  <c:v>5772</c:v>
                </c:pt>
                <c:pt idx="155">
                  <c:v>5641</c:v>
                </c:pt>
                <c:pt idx="156">
                  <c:v>5673</c:v>
                </c:pt>
                <c:pt idx="157">
                  <c:v>5928</c:v>
                </c:pt>
                <c:pt idx="158">
                  <c:v>6183</c:v>
                </c:pt>
                <c:pt idx="159">
                  <c:v>6027</c:v>
                </c:pt>
                <c:pt idx="160">
                  <c:v>5727</c:v>
                </c:pt>
                <c:pt idx="161">
                  <c:v>5640</c:v>
                </c:pt>
                <c:pt idx="162">
                  <c:v>5479</c:v>
                </c:pt>
                <c:pt idx="163">
                  <c:v>5489</c:v>
                </c:pt>
                <c:pt idx="164">
                  <c:v>5829</c:v>
                </c:pt>
                <c:pt idx="165">
                  <c:v>6224</c:v>
                </c:pt>
                <c:pt idx="166">
                  <c:v>6055</c:v>
                </c:pt>
                <c:pt idx="167">
                  <c:v>5637</c:v>
                </c:pt>
                <c:pt idx="168">
                  <c:v>5351</c:v>
                </c:pt>
                <c:pt idx="169">
                  <c:v>5169</c:v>
                </c:pt>
                <c:pt idx="170">
                  <c:v>5073</c:v>
                </c:pt>
                <c:pt idx="171">
                  <c:v>5144</c:v>
                </c:pt>
                <c:pt idx="172">
                  <c:v>5536</c:v>
                </c:pt>
                <c:pt idx="173">
                  <c:v>5481</c:v>
                </c:pt>
                <c:pt idx="174">
                  <c:v>5274</c:v>
                </c:pt>
                <c:pt idx="175">
                  <c:v>5126</c:v>
                </c:pt>
                <c:pt idx="176">
                  <c:v>5121</c:v>
                </c:pt>
                <c:pt idx="177">
                  <c:v>5015</c:v>
                </c:pt>
                <c:pt idx="178">
                  <c:v>5258</c:v>
                </c:pt>
                <c:pt idx="179">
                  <c:v>5413</c:v>
                </c:pt>
                <c:pt idx="180">
                  <c:v>5376</c:v>
                </c:pt>
                <c:pt idx="181">
                  <c:v>5243</c:v>
                </c:pt>
                <c:pt idx="182">
                  <c:v>5068</c:v>
                </c:pt>
                <c:pt idx="183">
                  <c:v>5112</c:v>
                </c:pt>
                <c:pt idx="184">
                  <c:v>5150</c:v>
                </c:pt>
                <c:pt idx="185">
                  <c:v>5422</c:v>
                </c:pt>
                <c:pt idx="186">
                  <c:v>5649</c:v>
                </c:pt>
                <c:pt idx="187">
                  <c:v>5510</c:v>
                </c:pt>
                <c:pt idx="188">
                  <c:v>5272</c:v>
                </c:pt>
                <c:pt idx="189">
                  <c:v>5192</c:v>
                </c:pt>
                <c:pt idx="190">
                  <c:v>5090</c:v>
                </c:pt>
                <c:pt idx="191">
                  <c:v>5114</c:v>
                </c:pt>
                <c:pt idx="192">
                  <c:v>5348</c:v>
                </c:pt>
                <c:pt idx="193">
                  <c:v>5548</c:v>
                </c:pt>
                <c:pt idx="194">
                  <c:v>5347</c:v>
                </c:pt>
                <c:pt idx="195">
                  <c:v>5117</c:v>
                </c:pt>
                <c:pt idx="196">
                  <c:v>5079</c:v>
                </c:pt>
                <c:pt idx="197">
                  <c:v>4981</c:v>
                </c:pt>
                <c:pt idx="198">
                  <c:v>4955</c:v>
                </c:pt>
                <c:pt idx="199">
                  <c:v>5105</c:v>
                </c:pt>
                <c:pt idx="200">
                  <c:v>5311</c:v>
                </c:pt>
                <c:pt idx="201">
                  <c:v>5216</c:v>
                </c:pt>
                <c:pt idx="202">
                  <c:v>4939</c:v>
                </c:pt>
                <c:pt idx="203">
                  <c:v>4945</c:v>
                </c:pt>
                <c:pt idx="204">
                  <c:v>4945</c:v>
                </c:pt>
                <c:pt idx="207">
                  <c:v>5577</c:v>
                </c:pt>
                <c:pt idx="208">
                  <c:v>5461</c:v>
                </c:pt>
                <c:pt idx="209">
                  <c:v>5550</c:v>
                </c:pt>
                <c:pt idx="210">
                  <c:v>5584</c:v>
                </c:pt>
                <c:pt idx="211">
                  <c:v>5620</c:v>
                </c:pt>
                <c:pt idx="212">
                  <c:v>6031</c:v>
                </c:pt>
                <c:pt idx="213">
                  <c:v>6629</c:v>
                </c:pt>
                <c:pt idx="214">
                  <c:v>6682</c:v>
                </c:pt>
                <c:pt idx="215">
                  <c:v>6625</c:v>
                </c:pt>
                <c:pt idx="216">
                  <c:v>6420</c:v>
                </c:pt>
                <c:pt idx="217">
                  <c:v>6045</c:v>
                </c:pt>
                <c:pt idx="218">
                  <c:v>5949</c:v>
                </c:pt>
                <c:pt idx="219">
                  <c:v>5662</c:v>
                </c:pt>
                <c:pt idx="220">
                  <c:v>6153</c:v>
                </c:pt>
                <c:pt idx="221">
                  <c:v>6546</c:v>
                </c:pt>
                <c:pt idx="222">
                  <c:v>6615</c:v>
                </c:pt>
                <c:pt idx="223">
                  <c:v>6320</c:v>
                </c:pt>
                <c:pt idx="224">
                  <c:v>6245</c:v>
                </c:pt>
                <c:pt idx="225">
                  <c:v>6340</c:v>
                </c:pt>
                <c:pt idx="226">
                  <c:v>6304</c:v>
                </c:pt>
                <c:pt idx="227">
                  <c:v>6414</c:v>
                </c:pt>
                <c:pt idx="228">
                  <c:v>6809</c:v>
                </c:pt>
                <c:pt idx="229">
                  <c:v>6804</c:v>
                </c:pt>
                <c:pt idx="230">
                  <c:v>6537</c:v>
                </c:pt>
                <c:pt idx="231">
                  <c:v>6340</c:v>
                </c:pt>
                <c:pt idx="232">
                  <c:v>6185</c:v>
                </c:pt>
                <c:pt idx="233">
                  <c:v>6341</c:v>
                </c:pt>
                <c:pt idx="234">
                  <c:v>6541</c:v>
                </c:pt>
                <c:pt idx="235">
                  <c:v>6698</c:v>
                </c:pt>
                <c:pt idx="236">
                  <c:v>6777</c:v>
                </c:pt>
                <c:pt idx="237">
                  <c:v>6693</c:v>
                </c:pt>
                <c:pt idx="238">
                  <c:v>6438</c:v>
                </c:pt>
                <c:pt idx="239">
                  <c:v>6257</c:v>
                </c:pt>
                <c:pt idx="240">
                  <c:v>6287</c:v>
                </c:pt>
                <c:pt idx="241">
                  <c:v>6605</c:v>
                </c:pt>
                <c:pt idx="242">
                  <c:v>6762</c:v>
                </c:pt>
                <c:pt idx="243">
                  <c:v>6758</c:v>
                </c:pt>
                <c:pt idx="244">
                  <c:v>6648</c:v>
                </c:pt>
                <c:pt idx="245">
                  <c:v>6485</c:v>
                </c:pt>
                <c:pt idx="246">
                  <c:v>6269</c:v>
                </c:pt>
                <c:pt idx="247">
                  <c:v>6208</c:v>
                </c:pt>
                <c:pt idx="248">
                  <c:v>6402</c:v>
                </c:pt>
                <c:pt idx="249">
                  <c:v>6675</c:v>
                </c:pt>
                <c:pt idx="250">
                  <c:v>6723</c:v>
                </c:pt>
                <c:pt idx="251">
                  <c:v>6553</c:v>
                </c:pt>
                <c:pt idx="252">
                  <c:v>6285</c:v>
                </c:pt>
                <c:pt idx="253">
                  <c:v>6296</c:v>
                </c:pt>
                <c:pt idx="254">
                  <c:v>6008</c:v>
                </c:pt>
                <c:pt idx="255">
                  <c:v>6344</c:v>
                </c:pt>
                <c:pt idx="256">
                  <c:v>6536</c:v>
                </c:pt>
                <c:pt idx="257">
                  <c:v>6476</c:v>
                </c:pt>
                <c:pt idx="258">
                  <c:v>6402</c:v>
                </c:pt>
                <c:pt idx="259">
                  <c:v>6329</c:v>
                </c:pt>
                <c:pt idx="260">
                  <c:v>6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C$2:$C$262</c:f>
              <c:numCache>
                <c:formatCode>#,##0</c:formatCode>
                <c:ptCount val="26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D$2:$D$262</c:f>
              <c:numCache>
                <c:formatCode>#,##0</c:formatCode>
                <c:ptCount val="26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7</c:v>
                </c:pt>
                <c:pt idx="101">
                  <c:v>8</c:v>
                </c:pt>
                <c:pt idx="102">
                  <c:v>5</c:v>
                </c:pt>
                <c:pt idx="103">
                  <c:v>6</c:v>
                </c:pt>
                <c:pt idx="104">
                  <c:v>8</c:v>
                </c:pt>
                <c:pt idx="105">
                  <c:v>8</c:v>
                </c:pt>
                <c:pt idx="106">
                  <c:v>8</c:v>
                </c:pt>
                <c:pt idx="107">
                  <c:v>8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5</c:v>
                </c:pt>
                <c:pt idx="165">
                  <c:v>16</c:v>
                </c:pt>
                <c:pt idx="166">
                  <c:v>14</c:v>
                </c:pt>
                <c:pt idx="167">
                  <c:v>16</c:v>
                </c:pt>
                <c:pt idx="168">
                  <c:v>17</c:v>
                </c:pt>
                <c:pt idx="169">
                  <c:v>17</c:v>
                </c:pt>
                <c:pt idx="170">
                  <c:v>18</c:v>
                </c:pt>
                <c:pt idx="171">
                  <c:v>16</c:v>
                </c:pt>
                <c:pt idx="172">
                  <c:v>16</c:v>
                </c:pt>
                <c:pt idx="173">
                  <c:v>17</c:v>
                </c:pt>
                <c:pt idx="174">
                  <c:v>21</c:v>
                </c:pt>
                <c:pt idx="175">
                  <c:v>24</c:v>
                </c:pt>
                <c:pt idx="176">
                  <c:v>25</c:v>
                </c:pt>
                <c:pt idx="177">
                  <c:v>27</c:v>
                </c:pt>
                <c:pt idx="178">
                  <c:v>26</c:v>
                </c:pt>
                <c:pt idx="179">
                  <c:v>24</c:v>
                </c:pt>
                <c:pt idx="180">
                  <c:v>17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2</c:v>
                </c:pt>
                <c:pt idx="186">
                  <c:v>23</c:v>
                </c:pt>
                <c:pt idx="187">
                  <c:v>24</c:v>
                </c:pt>
                <c:pt idx="188">
                  <c:v>32</c:v>
                </c:pt>
                <c:pt idx="189">
                  <c:v>27</c:v>
                </c:pt>
                <c:pt idx="190">
                  <c:v>32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6</c:v>
                </c:pt>
                <c:pt idx="204">
                  <c:v>22</c:v>
                </c:pt>
                <c:pt idx="207">
                  <c:v>29</c:v>
                </c:pt>
                <c:pt idx="208">
                  <c:v>27</c:v>
                </c:pt>
                <c:pt idx="209">
                  <c:v>29</c:v>
                </c:pt>
                <c:pt idx="210">
                  <c:v>29</c:v>
                </c:pt>
                <c:pt idx="211">
                  <c:v>26</c:v>
                </c:pt>
                <c:pt idx="212">
                  <c:v>25</c:v>
                </c:pt>
                <c:pt idx="213">
                  <c:v>29</c:v>
                </c:pt>
                <c:pt idx="214">
                  <c:v>29</c:v>
                </c:pt>
                <c:pt idx="215">
                  <c:v>31</c:v>
                </c:pt>
                <c:pt idx="216">
                  <c:v>29</c:v>
                </c:pt>
                <c:pt idx="217">
                  <c:v>26</c:v>
                </c:pt>
                <c:pt idx="218">
                  <c:v>23</c:v>
                </c:pt>
                <c:pt idx="219">
                  <c:v>23</c:v>
                </c:pt>
                <c:pt idx="220">
                  <c:v>24</c:v>
                </c:pt>
                <c:pt idx="221">
                  <c:v>22</c:v>
                </c:pt>
                <c:pt idx="222">
                  <c:v>20</c:v>
                </c:pt>
                <c:pt idx="223">
                  <c:v>21</c:v>
                </c:pt>
                <c:pt idx="224">
                  <c:v>18</c:v>
                </c:pt>
                <c:pt idx="225">
                  <c:v>17</c:v>
                </c:pt>
                <c:pt idx="226">
                  <c:v>18</c:v>
                </c:pt>
                <c:pt idx="227">
                  <c:v>18</c:v>
                </c:pt>
                <c:pt idx="228">
                  <c:v>18</c:v>
                </c:pt>
                <c:pt idx="229">
                  <c:v>19</c:v>
                </c:pt>
                <c:pt idx="230">
                  <c:v>22</c:v>
                </c:pt>
                <c:pt idx="231">
                  <c:v>18</c:v>
                </c:pt>
                <c:pt idx="232">
                  <c:v>20</c:v>
                </c:pt>
                <c:pt idx="233">
                  <c:v>21</c:v>
                </c:pt>
                <c:pt idx="234">
                  <c:v>19</c:v>
                </c:pt>
                <c:pt idx="235">
                  <c:v>17</c:v>
                </c:pt>
                <c:pt idx="236">
                  <c:v>15</c:v>
                </c:pt>
                <c:pt idx="237">
                  <c:v>14</c:v>
                </c:pt>
                <c:pt idx="238">
                  <c:v>17</c:v>
                </c:pt>
                <c:pt idx="239">
                  <c:v>19</c:v>
                </c:pt>
                <c:pt idx="240">
                  <c:v>19</c:v>
                </c:pt>
                <c:pt idx="241">
                  <c:v>18</c:v>
                </c:pt>
                <c:pt idx="242">
                  <c:v>17</c:v>
                </c:pt>
                <c:pt idx="243">
                  <c:v>18</c:v>
                </c:pt>
                <c:pt idx="244">
                  <c:v>15</c:v>
                </c:pt>
                <c:pt idx="245">
                  <c:v>16</c:v>
                </c:pt>
                <c:pt idx="246">
                  <c:v>17</c:v>
                </c:pt>
                <c:pt idx="247">
                  <c:v>18</c:v>
                </c:pt>
                <c:pt idx="248">
                  <c:v>14</c:v>
                </c:pt>
                <c:pt idx="249">
                  <c:v>12</c:v>
                </c:pt>
                <c:pt idx="250">
                  <c:v>11</c:v>
                </c:pt>
                <c:pt idx="251">
                  <c:v>11</c:v>
                </c:pt>
                <c:pt idx="252">
                  <c:v>10</c:v>
                </c:pt>
                <c:pt idx="253">
                  <c:v>9</c:v>
                </c:pt>
                <c:pt idx="254">
                  <c:v>8</c:v>
                </c:pt>
                <c:pt idx="255">
                  <c:v>8</c:v>
                </c:pt>
                <c:pt idx="256">
                  <c:v>8</c:v>
                </c:pt>
                <c:pt idx="257">
                  <c:v>7</c:v>
                </c:pt>
                <c:pt idx="258">
                  <c:v>6</c:v>
                </c:pt>
                <c:pt idx="259">
                  <c:v>6</c:v>
                </c:pt>
                <c:pt idx="26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46"/>
              <c:layout>
                <c:manualLayout>
                  <c:x val="3.4837775464022197E-2"/>
                  <c:y val="-2.694342728881236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B$2:$B$262</c:f>
              <c:numCache>
                <c:formatCode>#,##0</c:formatCode>
                <c:ptCount val="261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  <c:pt idx="204">
                  <c:v>24</c:v>
                </c:pt>
                <c:pt idx="207">
                  <c:v>28</c:v>
                </c:pt>
                <c:pt idx="208">
                  <c:v>27</c:v>
                </c:pt>
                <c:pt idx="209">
                  <c:v>28</c:v>
                </c:pt>
                <c:pt idx="210">
                  <c:v>30</c:v>
                </c:pt>
                <c:pt idx="211">
                  <c:v>32</c:v>
                </c:pt>
                <c:pt idx="212">
                  <c:v>32</c:v>
                </c:pt>
                <c:pt idx="213">
                  <c:v>33</c:v>
                </c:pt>
                <c:pt idx="214">
                  <c:v>29</c:v>
                </c:pt>
                <c:pt idx="215">
                  <c:v>29</c:v>
                </c:pt>
                <c:pt idx="216">
                  <c:v>33</c:v>
                </c:pt>
                <c:pt idx="217">
                  <c:v>35</c:v>
                </c:pt>
                <c:pt idx="218">
                  <c:v>38</c:v>
                </c:pt>
                <c:pt idx="219">
                  <c:v>38</c:v>
                </c:pt>
                <c:pt idx="220">
                  <c:v>39</c:v>
                </c:pt>
                <c:pt idx="221">
                  <c:v>38</c:v>
                </c:pt>
                <c:pt idx="222">
                  <c:v>38</c:v>
                </c:pt>
                <c:pt idx="223">
                  <c:v>42</c:v>
                </c:pt>
                <c:pt idx="224">
                  <c:v>44</c:v>
                </c:pt>
                <c:pt idx="225">
                  <c:v>45</c:v>
                </c:pt>
                <c:pt idx="226">
                  <c:v>43</c:v>
                </c:pt>
                <c:pt idx="227">
                  <c:v>43</c:v>
                </c:pt>
                <c:pt idx="228">
                  <c:v>45</c:v>
                </c:pt>
                <c:pt idx="229">
                  <c:v>46</c:v>
                </c:pt>
                <c:pt idx="230">
                  <c:v>42</c:v>
                </c:pt>
                <c:pt idx="231">
                  <c:v>42</c:v>
                </c:pt>
                <c:pt idx="232">
                  <c:v>41</c:v>
                </c:pt>
                <c:pt idx="233">
                  <c:v>40</c:v>
                </c:pt>
                <c:pt idx="234">
                  <c:v>40</c:v>
                </c:pt>
                <c:pt idx="235">
                  <c:v>40</c:v>
                </c:pt>
                <c:pt idx="236">
                  <c:v>42</c:v>
                </c:pt>
                <c:pt idx="237">
                  <c:v>40</c:v>
                </c:pt>
                <c:pt idx="238">
                  <c:v>38</c:v>
                </c:pt>
                <c:pt idx="239">
                  <c:v>40</c:v>
                </c:pt>
                <c:pt idx="240">
                  <c:v>41</c:v>
                </c:pt>
                <c:pt idx="241">
                  <c:v>49</c:v>
                </c:pt>
                <c:pt idx="242">
                  <c:v>50</c:v>
                </c:pt>
                <c:pt idx="243">
                  <c:v>49</c:v>
                </c:pt>
                <c:pt idx="244">
                  <c:v>48</c:v>
                </c:pt>
                <c:pt idx="245">
                  <c:v>51</c:v>
                </c:pt>
                <c:pt idx="246">
                  <c:v>48</c:v>
                </c:pt>
                <c:pt idx="247">
                  <c:v>50</c:v>
                </c:pt>
                <c:pt idx="248">
                  <c:v>52</c:v>
                </c:pt>
                <c:pt idx="249">
                  <c:v>51</c:v>
                </c:pt>
                <c:pt idx="250">
                  <c:v>50</c:v>
                </c:pt>
                <c:pt idx="251">
                  <c:v>52</c:v>
                </c:pt>
                <c:pt idx="252">
                  <c:v>54</c:v>
                </c:pt>
                <c:pt idx="253">
                  <c:v>54</c:v>
                </c:pt>
                <c:pt idx="254">
                  <c:v>56</c:v>
                </c:pt>
                <c:pt idx="255">
                  <c:v>54</c:v>
                </c:pt>
                <c:pt idx="256">
                  <c:v>51</c:v>
                </c:pt>
                <c:pt idx="257">
                  <c:v>52</c:v>
                </c:pt>
                <c:pt idx="258">
                  <c:v>53</c:v>
                </c:pt>
                <c:pt idx="259">
                  <c:v>54</c:v>
                </c:pt>
                <c:pt idx="260">
                  <c:v>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C$2:$C$262</c:f>
              <c:numCache>
                <c:formatCode>#,##0</c:formatCode>
                <c:ptCount val="26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67102705906E-2"/>
          <c:y val="4.3204214070286948E-2"/>
          <c:w val="0.83577340237216891"/>
          <c:h val="0.73446826296884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D$2:$D$262</c:f>
              <c:numCache>
                <c:formatCode>#,##0</c:formatCode>
                <c:ptCount val="261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2</c:v>
                </c:pt>
                <c:pt idx="43">
                  <c:v>478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8</c:v>
                </c:pt>
                <c:pt idx="60">
                  <c:v>1067</c:v>
                </c:pt>
                <c:pt idx="61">
                  <c:v>1115</c:v>
                </c:pt>
                <c:pt idx="62">
                  <c:v>1151</c:v>
                </c:pt>
                <c:pt idx="63">
                  <c:v>1176</c:v>
                </c:pt>
                <c:pt idx="64">
                  <c:v>1163</c:v>
                </c:pt>
                <c:pt idx="65">
                  <c:v>1173</c:v>
                </c:pt>
                <c:pt idx="66">
                  <c:v>1210</c:v>
                </c:pt>
                <c:pt idx="67">
                  <c:v>1154</c:v>
                </c:pt>
                <c:pt idx="68">
                  <c:v>1165</c:v>
                </c:pt>
                <c:pt idx="69">
                  <c:v>1179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099</c:v>
                </c:pt>
                <c:pt idx="74">
                  <c:v>1067</c:v>
                </c:pt>
                <c:pt idx="75">
                  <c:v>1042</c:v>
                </c:pt>
                <c:pt idx="76">
                  <c:v>1036</c:v>
                </c:pt>
                <c:pt idx="77">
                  <c:v>992</c:v>
                </c:pt>
                <c:pt idx="78">
                  <c:v>1002</c:v>
                </c:pt>
                <c:pt idx="79">
                  <c:v>971</c:v>
                </c:pt>
                <c:pt idx="80">
                  <c:v>957</c:v>
                </c:pt>
                <c:pt idx="81">
                  <c:v>942</c:v>
                </c:pt>
                <c:pt idx="82">
                  <c:v>957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5</c:v>
                </c:pt>
                <c:pt idx="91">
                  <c:v>727</c:v>
                </c:pt>
                <c:pt idx="92">
                  <c:v>711</c:v>
                </c:pt>
                <c:pt idx="93">
                  <c:v>713</c:v>
                </c:pt>
                <c:pt idx="94">
                  <c:v>709</c:v>
                </c:pt>
                <c:pt idx="95">
                  <c:v>685</c:v>
                </c:pt>
                <c:pt idx="96">
                  <c:v>672</c:v>
                </c:pt>
                <c:pt idx="97">
                  <c:v>710</c:v>
                </c:pt>
                <c:pt idx="98">
                  <c:v>698</c:v>
                </c:pt>
                <c:pt idx="99">
                  <c:v>684</c:v>
                </c:pt>
                <c:pt idx="100">
                  <c:v>709</c:v>
                </c:pt>
                <c:pt idx="101">
                  <c:v>697</c:v>
                </c:pt>
                <c:pt idx="102">
                  <c:v>693</c:v>
                </c:pt>
                <c:pt idx="103">
                  <c:v>707</c:v>
                </c:pt>
                <c:pt idx="104">
                  <c:v>725</c:v>
                </c:pt>
                <c:pt idx="105">
                  <c:v>722</c:v>
                </c:pt>
                <c:pt idx="106">
                  <c:v>734</c:v>
                </c:pt>
                <c:pt idx="107">
                  <c:v>722</c:v>
                </c:pt>
                <c:pt idx="108">
                  <c:v>726</c:v>
                </c:pt>
                <c:pt idx="109">
                  <c:v>743</c:v>
                </c:pt>
                <c:pt idx="110">
                  <c:v>752</c:v>
                </c:pt>
                <c:pt idx="111">
                  <c:v>762</c:v>
                </c:pt>
                <c:pt idx="112">
                  <c:v>767</c:v>
                </c:pt>
                <c:pt idx="113">
                  <c:v>777</c:v>
                </c:pt>
                <c:pt idx="114">
                  <c:v>746</c:v>
                </c:pt>
                <c:pt idx="115">
                  <c:v>767</c:v>
                </c:pt>
                <c:pt idx="116">
                  <c:v>805</c:v>
                </c:pt>
                <c:pt idx="117">
                  <c:v>845</c:v>
                </c:pt>
                <c:pt idx="118">
                  <c:v>905</c:v>
                </c:pt>
                <c:pt idx="119">
                  <c:v>939</c:v>
                </c:pt>
                <c:pt idx="120">
                  <c:v>955</c:v>
                </c:pt>
                <c:pt idx="121">
                  <c:v>971</c:v>
                </c:pt>
                <c:pt idx="122">
                  <c:v>949</c:v>
                </c:pt>
                <c:pt idx="123">
                  <c:v>959</c:v>
                </c:pt>
                <c:pt idx="124">
                  <c:v>1005</c:v>
                </c:pt>
                <c:pt idx="125">
                  <c:v>1091</c:v>
                </c:pt>
                <c:pt idx="126">
                  <c:v>1112</c:v>
                </c:pt>
                <c:pt idx="127">
                  <c:v>1150</c:v>
                </c:pt>
                <c:pt idx="128">
                  <c:v>1149</c:v>
                </c:pt>
                <c:pt idx="129">
                  <c:v>1141</c:v>
                </c:pt>
                <c:pt idx="130">
                  <c:v>1148</c:v>
                </c:pt>
                <c:pt idx="131">
                  <c:v>1175</c:v>
                </c:pt>
                <c:pt idx="132">
                  <c:v>1187</c:v>
                </c:pt>
                <c:pt idx="133">
                  <c:v>1173</c:v>
                </c:pt>
                <c:pt idx="134">
                  <c:v>1169</c:v>
                </c:pt>
                <c:pt idx="135">
                  <c:v>1178</c:v>
                </c:pt>
                <c:pt idx="136">
                  <c:v>1168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4</c:v>
                </c:pt>
                <c:pt idx="141">
                  <c:v>1110</c:v>
                </c:pt>
                <c:pt idx="142">
                  <c:v>1104</c:v>
                </c:pt>
                <c:pt idx="143">
                  <c:v>1108</c:v>
                </c:pt>
                <c:pt idx="144">
                  <c:v>1090</c:v>
                </c:pt>
                <c:pt idx="145">
                  <c:v>1056</c:v>
                </c:pt>
                <c:pt idx="146">
                  <c:v>1078</c:v>
                </c:pt>
                <c:pt idx="147">
                  <c:v>1045</c:v>
                </c:pt>
                <c:pt idx="148">
                  <c:v>1036</c:v>
                </c:pt>
                <c:pt idx="149">
                  <c:v>1017</c:v>
                </c:pt>
                <c:pt idx="150">
                  <c:v>1018</c:v>
                </c:pt>
                <c:pt idx="151">
                  <c:v>1021</c:v>
                </c:pt>
                <c:pt idx="152">
                  <c:v>1039</c:v>
                </c:pt>
                <c:pt idx="153">
                  <c:v>1078</c:v>
                </c:pt>
                <c:pt idx="154">
                  <c:v>1089</c:v>
                </c:pt>
                <c:pt idx="155">
                  <c:v>1076</c:v>
                </c:pt>
                <c:pt idx="156">
                  <c:v>1102</c:v>
                </c:pt>
                <c:pt idx="157">
                  <c:v>1088</c:v>
                </c:pt>
                <c:pt idx="158">
                  <c:v>1072</c:v>
                </c:pt>
                <c:pt idx="159">
                  <c:v>1099</c:v>
                </c:pt>
                <c:pt idx="160">
                  <c:v>1108</c:v>
                </c:pt>
                <c:pt idx="161">
                  <c:v>1093</c:v>
                </c:pt>
                <c:pt idx="162">
                  <c:v>1108</c:v>
                </c:pt>
                <c:pt idx="163">
                  <c:v>1114</c:v>
                </c:pt>
                <c:pt idx="164">
                  <c:v>1110</c:v>
                </c:pt>
                <c:pt idx="165">
                  <c:v>1104</c:v>
                </c:pt>
                <c:pt idx="166">
                  <c:v>1145</c:v>
                </c:pt>
                <c:pt idx="167">
                  <c:v>1169</c:v>
                </c:pt>
                <c:pt idx="168">
                  <c:v>1212</c:v>
                </c:pt>
                <c:pt idx="169">
                  <c:v>1240</c:v>
                </c:pt>
                <c:pt idx="170">
                  <c:v>1266</c:v>
                </c:pt>
                <c:pt idx="171">
                  <c:v>1269</c:v>
                </c:pt>
                <c:pt idx="172">
                  <c:v>1267</c:v>
                </c:pt>
                <c:pt idx="173">
                  <c:v>1281</c:v>
                </c:pt>
                <c:pt idx="174">
                  <c:v>1360</c:v>
                </c:pt>
                <c:pt idx="175">
                  <c:v>1389</c:v>
                </c:pt>
                <c:pt idx="176">
                  <c:v>1408</c:v>
                </c:pt>
                <c:pt idx="177">
                  <c:v>1463</c:v>
                </c:pt>
                <c:pt idx="178">
                  <c:v>1439</c:v>
                </c:pt>
                <c:pt idx="179">
                  <c:v>1466</c:v>
                </c:pt>
                <c:pt idx="180">
                  <c:v>1502</c:v>
                </c:pt>
                <c:pt idx="181">
                  <c:v>1585</c:v>
                </c:pt>
                <c:pt idx="182">
                  <c:v>1596</c:v>
                </c:pt>
                <c:pt idx="183">
                  <c:v>1623</c:v>
                </c:pt>
                <c:pt idx="184">
                  <c:v>1650</c:v>
                </c:pt>
                <c:pt idx="185">
                  <c:v>1670</c:v>
                </c:pt>
                <c:pt idx="186">
                  <c:v>1672</c:v>
                </c:pt>
                <c:pt idx="187">
                  <c:v>1675</c:v>
                </c:pt>
                <c:pt idx="188">
                  <c:v>1769</c:v>
                </c:pt>
                <c:pt idx="189">
                  <c:v>1797</c:v>
                </c:pt>
                <c:pt idx="190">
                  <c:v>1826</c:v>
                </c:pt>
                <c:pt idx="191">
                  <c:v>1816</c:v>
                </c:pt>
                <c:pt idx="192">
                  <c:v>1828</c:v>
                </c:pt>
                <c:pt idx="193">
                  <c:v>1778</c:v>
                </c:pt>
                <c:pt idx="194">
                  <c:v>1825</c:v>
                </c:pt>
                <c:pt idx="195">
                  <c:v>1882</c:v>
                </c:pt>
                <c:pt idx="196">
                  <c:v>1891</c:v>
                </c:pt>
                <c:pt idx="197">
                  <c:v>1859</c:v>
                </c:pt>
                <c:pt idx="198">
                  <c:v>1858</c:v>
                </c:pt>
                <c:pt idx="199">
                  <c:v>1817</c:v>
                </c:pt>
                <c:pt idx="200">
                  <c:v>1777</c:v>
                </c:pt>
                <c:pt idx="201">
                  <c:v>1801</c:v>
                </c:pt>
                <c:pt idx="202">
                  <c:v>1821</c:v>
                </c:pt>
                <c:pt idx="203">
                  <c:v>1774</c:v>
                </c:pt>
                <c:pt idx="204">
                  <c:v>1742</c:v>
                </c:pt>
                <c:pt idx="207">
                  <c:v>1641</c:v>
                </c:pt>
                <c:pt idx="208">
                  <c:v>1651</c:v>
                </c:pt>
                <c:pt idx="209">
                  <c:v>1661</c:v>
                </c:pt>
                <c:pt idx="210">
                  <c:v>1612</c:v>
                </c:pt>
                <c:pt idx="211">
                  <c:v>1552</c:v>
                </c:pt>
                <c:pt idx="212">
                  <c:v>1503</c:v>
                </c:pt>
                <c:pt idx="213">
                  <c:v>1422</c:v>
                </c:pt>
                <c:pt idx="214">
                  <c:v>1399</c:v>
                </c:pt>
                <c:pt idx="215">
                  <c:v>1378</c:v>
                </c:pt>
                <c:pt idx="216">
                  <c:v>1344</c:v>
                </c:pt>
                <c:pt idx="217">
                  <c:v>1394</c:v>
                </c:pt>
                <c:pt idx="218">
                  <c:v>1360</c:v>
                </c:pt>
                <c:pt idx="219">
                  <c:v>1313</c:v>
                </c:pt>
                <c:pt idx="220">
                  <c:v>1234</c:v>
                </c:pt>
                <c:pt idx="221">
                  <c:v>1215</c:v>
                </c:pt>
                <c:pt idx="222">
                  <c:v>1197</c:v>
                </c:pt>
                <c:pt idx="223">
                  <c:v>1184</c:v>
                </c:pt>
                <c:pt idx="224">
                  <c:v>1156</c:v>
                </c:pt>
                <c:pt idx="225">
                  <c:v>1112</c:v>
                </c:pt>
                <c:pt idx="226">
                  <c:v>1034</c:v>
                </c:pt>
                <c:pt idx="227">
                  <c:v>1012</c:v>
                </c:pt>
                <c:pt idx="228">
                  <c:v>972</c:v>
                </c:pt>
                <c:pt idx="229">
                  <c:v>974</c:v>
                </c:pt>
                <c:pt idx="230">
                  <c:v>994</c:v>
                </c:pt>
                <c:pt idx="231">
                  <c:v>942</c:v>
                </c:pt>
                <c:pt idx="232">
                  <c:v>907</c:v>
                </c:pt>
                <c:pt idx="233">
                  <c:v>832</c:v>
                </c:pt>
                <c:pt idx="234">
                  <c:v>786</c:v>
                </c:pt>
                <c:pt idx="235">
                  <c:v>750</c:v>
                </c:pt>
                <c:pt idx="236">
                  <c:v>758</c:v>
                </c:pt>
                <c:pt idx="237">
                  <c:v>737</c:v>
                </c:pt>
                <c:pt idx="238">
                  <c:v>712</c:v>
                </c:pt>
                <c:pt idx="239">
                  <c:v>684</c:v>
                </c:pt>
                <c:pt idx="240">
                  <c:v>635</c:v>
                </c:pt>
                <c:pt idx="241">
                  <c:v>577</c:v>
                </c:pt>
                <c:pt idx="242">
                  <c:v>554</c:v>
                </c:pt>
                <c:pt idx="243">
                  <c:v>561</c:v>
                </c:pt>
                <c:pt idx="244">
                  <c:v>568</c:v>
                </c:pt>
                <c:pt idx="245">
                  <c:v>549</c:v>
                </c:pt>
                <c:pt idx="246">
                  <c:v>506</c:v>
                </c:pt>
                <c:pt idx="247">
                  <c:v>467</c:v>
                </c:pt>
                <c:pt idx="248">
                  <c:v>444</c:v>
                </c:pt>
                <c:pt idx="249">
                  <c:v>415</c:v>
                </c:pt>
                <c:pt idx="250">
                  <c:v>421</c:v>
                </c:pt>
                <c:pt idx="251">
                  <c:v>426</c:v>
                </c:pt>
                <c:pt idx="252">
                  <c:v>403</c:v>
                </c:pt>
                <c:pt idx="253">
                  <c:v>380</c:v>
                </c:pt>
                <c:pt idx="254">
                  <c:v>365</c:v>
                </c:pt>
                <c:pt idx="255">
                  <c:v>337</c:v>
                </c:pt>
                <c:pt idx="256">
                  <c:v>304</c:v>
                </c:pt>
                <c:pt idx="257">
                  <c:v>299</c:v>
                </c:pt>
                <c:pt idx="258">
                  <c:v>289</c:v>
                </c:pt>
                <c:pt idx="259">
                  <c:v>280</c:v>
                </c:pt>
                <c:pt idx="260">
                  <c:v>2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9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21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46"/>
              <c:layout>
                <c:manualLayout>
                  <c:x val="2.724025667762075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59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B$2:$B$262</c:f>
              <c:numCache>
                <c:formatCode>#,##0</c:formatCode>
                <c:ptCount val="261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106</c:v>
                </c:pt>
                <c:pt idx="60">
                  <c:v>1081</c:v>
                </c:pt>
                <c:pt idx="61">
                  <c:v>1069</c:v>
                </c:pt>
                <c:pt idx="62">
                  <c:v>1101</c:v>
                </c:pt>
                <c:pt idx="63">
                  <c:v>1047</c:v>
                </c:pt>
                <c:pt idx="64">
                  <c:v>1025</c:v>
                </c:pt>
                <c:pt idx="65">
                  <c:v>1039</c:v>
                </c:pt>
                <c:pt idx="66">
                  <c:v>994</c:v>
                </c:pt>
                <c:pt idx="67">
                  <c:v>1025</c:v>
                </c:pt>
                <c:pt idx="68">
                  <c:v>1018</c:v>
                </c:pt>
                <c:pt idx="69">
                  <c:v>1061</c:v>
                </c:pt>
                <c:pt idx="70">
                  <c:v>1021</c:v>
                </c:pt>
                <c:pt idx="71">
                  <c:v>948</c:v>
                </c:pt>
                <c:pt idx="72">
                  <c:v>937</c:v>
                </c:pt>
                <c:pt idx="73">
                  <c:v>929</c:v>
                </c:pt>
                <c:pt idx="74">
                  <c:v>923</c:v>
                </c:pt>
                <c:pt idx="75">
                  <c:v>937</c:v>
                </c:pt>
                <c:pt idx="76">
                  <c:v>932</c:v>
                </c:pt>
                <c:pt idx="77">
                  <c:v>956</c:v>
                </c:pt>
                <c:pt idx="78">
                  <c:v>971</c:v>
                </c:pt>
                <c:pt idx="79">
                  <c:v>903</c:v>
                </c:pt>
                <c:pt idx="80">
                  <c:v>900</c:v>
                </c:pt>
                <c:pt idx="81">
                  <c:v>949</c:v>
                </c:pt>
                <c:pt idx="82">
                  <c:v>971</c:v>
                </c:pt>
                <c:pt idx="83">
                  <c:v>927</c:v>
                </c:pt>
                <c:pt idx="84">
                  <c:v>936</c:v>
                </c:pt>
                <c:pt idx="85">
                  <c:v>967</c:v>
                </c:pt>
                <c:pt idx="86">
                  <c:v>917</c:v>
                </c:pt>
                <c:pt idx="87">
                  <c:v>904</c:v>
                </c:pt>
                <c:pt idx="88">
                  <c:v>963</c:v>
                </c:pt>
                <c:pt idx="89">
                  <c:v>1007</c:v>
                </c:pt>
                <c:pt idx="90">
                  <c:v>952</c:v>
                </c:pt>
                <c:pt idx="91">
                  <c:v>949</c:v>
                </c:pt>
                <c:pt idx="92">
                  <c:v>947</c:v>
                </c:pt>
                <c:pt idx="93">
                  <c:v>891</c:v>
                </c:pt>
                <c:pt idx="94">
                  <c:v>884</c:v>
                </c:pt>
                <c:pt idx="95">
                  <c:v>888</c:v>
                </c:pt>
                <c:pt idx="96">
                  <c:v>919</c:v>
                </c:pt>
                <c:pt idx="97">
                  <c:v>931</c:v>
                </c:pt>
                <c:pt idx="98">
                  <c:v>884</c:v>
                </c:pt>
                <c:pt idx="99">
                  <c:v>863</c:v>
                </c:pt>
                <c:pt idx="100">
                  <c:v>832</c:v>
                </c:pt>
                <c:pt idx="101">
                  <c:v>870</c:v>
                </c:pt>
                <c:pt idx="102">
                  <c:v>935</c:v>
                </c:pt>
                <c:pt idx="103">
                  <c:v>917</c:v>
                </c:pt>
                <c:pt idx="104">
                  <c:v>895</c:v>
                </c:pt>
                <c:pt idx="105">
                  <c:v>881</c:v>
                </c:pt>
                <c:pt idx="106">
                  <c:v>871</c:v>
                </c:pt>
                <c:pt idx="107">
                  <c:v>866</c:v>
                </c:pt>
                <c:pt idx="108">
                  <c:v>910</c:v>
                </c:pt>
                <c:pt idx="109">
                  <c:v>914</c:v>
                </c:pt>
                <c:pt idx="110">
                  <c:v>948</c:v>
                </c:pt>
                <c:pt idx="111">
                  <c:v>952</c:v>
                </c:pt>
                <c:pt idx="112">
                  <c:v>983</c:v>
                </c:pt>
                <c:pt idx="113">
                  <c:v>984</c:v>
                </c:pt>
                <c:pt idx="114">
                  <c:v>1056</c:v>
                </c:pt>
                <c:pt idx="115">
                  <c:v>1073</c:v>
                </c:pt>
                <c:pt idx="116">
                  <c:v>1060</c:v>
                </c:pt>
                <c:pt idx="117">
                  <c:v>1030</c:v>
                </c:pt>
                <c:pt idx="118">
                  <c:v>1017</c:v>
                </c:pt>
                <c:pt idx="119">
                  <c:v>961</c:v>
                </c:pt>
                <c:pt idx="120">
                  <c:v>966</c:v>
                </c:pt>
                <c:pt idx="121">
                  <c:v>936</c:v>
                </c:pt>
                <c:pt idx="122">
                  <c:v>951</c:v>
                </c:pt>
                <c:pt idx="123">
                  <c:v>945</c:v>
                </c:pt>
                <c:pt idx="124">
                  <c:v>874</c:v>
                </c:pt>
                <c:pt idx="125">
                  <c:v>831</c:v>
                </c:pt>
                <c:pt idx="126">
                  <c:v>771</c:v>
                </c:pt>
                <c:pt idx="127">
                  <c:v>749</c:v>
                </c:pt>
                <c:pt idx="128">
                  <c:v>742</c:v>
                </c:pt>
                <c:pt idx="129">
                  <c:v>765</c:v>
                </c:pt>
                <c:pt idx="130">
                  <c:v>777</c:v>
                </c:pt>
                <c:pt idx="131">
                  <c:v>804</c:v>
                </c:pt>
                <c:pt idx="132">
                  <c:v>771</c:v>
                </c:pt>
                <c:pt idx="133">
                  <c:v>735</c:v>
                </c:pt>
                <c:pt idx="134">
                  <c:v>740</c:v>
                </c:pt>
                <c:pt idx="135">
                  <c:v>731</c:v>
                </c:pt>
                <c:pt idx="136">
                  <c:v>736</c:v>
                </c:pt>
                <c:pt idx="137">
                  <c:v>769</c:v>
                </c:pt>
                <c:pt idx="138">
                  <c:v>758</c:v>
                </c:pt>
                <c:pt idx="139">
                  <c:v>762</c:v>
                </c:pt>
                <c:pt idx="140">
                  <c:v>756</c:v>
                </c:pt>
                <c:pt idx="141">
                  <c:v>766</c:v>
                </c:pt>
                <c:pt idx="142">
                  <c:v>748</c:v>
                </c:pt>
                <c:pt idx="143">
                  <c:v>759</c:v>
                </c:pt>
                <c:pt idx="144">
                  <c:v>790</c:v>
                </c:pt>
                <c:pt idx="145">
                  <c:v>777</c:v>
                </c:pt>
                <c:pt idx="146">
                  <c:v>757</c:v>
                </c:pt>
                <c:pt idx="147">
                  <c:v>753</c:v>
                </c:pt>
                <c:pt idx="148">
                  <c:v>742</c:v>
                </c:pt>
                <c:pt idx="149">
                  <c:v>755</c:v>
                </c:pt>
                <c:pt idx="150">
                  <c:v>770</c:v>
                </c:pt>
                <c:pt idx="151">
                  <c:v>806</c:v>
                </c:pt>
                <c:pt idx="152">
                  <c:v>836</c:v>
                </c:pt>
                <c:pt idx="153">
                  <c:v>757</c:v>
                </c:pt>
                <c:pt idx="154">
                  <c:v>715</c:v>
                </c:pt>
                <c:pt idx="155">
                  <c:v>715</c:v>
                </c:pt>
                <c:pt idx="156">
                  <c:v>703</c:v>
                </c:pt>
                <c:pt idx="157">
                  <c:v>708</c:v>
                </c:pt>
                <c:pt idx="158">
                  <c:v>762</c:v>
                </c:pt>
                <c:pt idx="159">
                  <c:v>765</c:v>
                </c:pt>
                <c:pt idx="160">
                  <c:v>721</c:v>
                </c:pt>
                <c:pt idx="161">
                  <c:v>716</c:v>
                </c:pt>
                <c:pt idx="162">
                  <c:v>692</c:v>
                </c:pt>
                <c:pt idx="163">
                  <c:v>636</c:v>
                </c:pt>
                <c:pt idx="164">
                  <c:v>653</c:v>
                </c:pt>
                <c:pt idx="165">
                  <c:v>689</c:v>
                </c:pt>
                <c:pt idx="166">
                  <c:v>663</c:v>
                </c:pt>
                <c:pt idx="167">
                  <c:v>661</c:v>
                </c:pt>
                <c:pt idx="168">
                  <c:v>598</c:v>
                </c:pt>
                <c:pt idx="169">
                  <c:v>577</c:v>
                </c:pt>
                <c:pt idx="170">
                  <c:v>568</c:v>
                </c:pt>
                <c:pt idx="171">
                  <c:v>541</c:v>
                </c:pt>
                <c:pt idx="172">
                  <c:v>602</c:v>
                </c:pt>
                <c:pt idx="173">
                  <c:v>604</c:v>
                </c:pt>
                <c:pt idx="174">
                  <c:v>600</c:v>
                </c:pt>
                <c:pt idx="175">
                  <c:v>595</c:v>
                </c:pt>
                <c:pt idx="176">
                  <c:v>570</c:v>
                </c:pt>
                <c:pt idx="177">
                  <c:v>589</c:v>
                </c:pt>
                <c:pt idx="178">
                  <c:v>607</c:v>
                </c:pt>
                <c:pt idx="179">
                  <c:v>581</c:v>
                </c:pt>
                <c:pt idx="180">
                  <c:v>576</c:v>
                </c:pt>
                <c:pt idx="181">
                  <c:v>598</c:v>
                </c:pt>
                <c:pt idx="182">
                  <c:v>582</c:v>
                </c:pt>
                <c:pt idx="183">
                  <c:v>562</c:v>
                </c:pt>
                <c:pt idx="184">
                  <c:v>563</c:v>
                </c:pt>
                <c:pt idx="185">
                  <c:v>572</c:v>
                </c:pt>
                <c:pt idx="186">
                  <c:v>561</c:v>
                </c:pt>
                <c:pt idx="187">
                  <c:v>588</c:v>
                </c:pt>
                <c:pt idx="188">
                  <c:v>591</c:v>
                </c:pt>
                <c:pt idx="189">
                  <c:v>533</c:v>
                </c:pt>
                <c:pt idx="190">
                  <c:v>499</c:v>
                </c:pt>
                <c:pt idx="191">
                  <c:v>487</c:v>
                </c:pt>
                <c:pt idx="192">
                  <c:v>498</c:v>
                </c:pt>
                <c:pt idx="193">
                  <c:v>515</c:v>
                </c:pt>
                <c:pt idx="194">
                  <c:v>498</c:v>
                </c:pt>
                <c:pt idx="195">
                  <c:v>502</c:v>
                </c:pt>
                <c:pt idx="196">
                  <c:v>459</c:v>
                </c:pt>
                <c:pt idx="197">
                  <c:v>488</c:v>
                </c:pt>
                <c:pt idx="198">
                  <c:v>499</c:v>
                </c:pt>
                <c:pt idx="199">
                  <c:v>485</c:v>
                </c:pt>
                <c:pt idx="200">
                  <c:v>488</c:v>
                </c:pt>
                <c:pt idx="201">
                  <c:v>501</c:v>
                </c:pt>
                <c:pt idx="202">
                  <c:v>515</c:v>
                </c:pt>
                <c:pt idx="203">
                  <c:v>532</c:v>
                </c:pt>
                <c:pt idx="204">
                  <c:v>532</c:v>
                </c:pt>
                <c:pt idx="207">
                  <c:v>1068</c:v>
                </c:pt>
                <c:pt idx="208">
                  <c:v>1080</c:v>
                </c:pt>
                <c:pt idx="209">
                  <c:v>1032</c:v>
                </c:pt>
                <c:pt idx="210">
                  <c:v>1073</c:v>
                </c:pt>
                <c:pt idx="211">
                  <c:v>1124</c:v>
                </c:pt>
                <c:pt idx="212">
                  <c:v>1158</c:v>
                </c:pt>
                <c:pt idx="213">
                  <c:v>1222</c:v>
                </c:pt>
                <c:pt idx="214">
                  <c:v>1267</c:v>
                </c:pt>
                <c:pt idx="215">
                  <c:v>1248</c:v>
                </c:pt>
                <c:pt idx="216">
                  <c:v>1236</c:v>
                </c:pt>
                <c:pt idx="217">
                  <c:v>1270</c:v>
                </c:pt>
                <c:pt idx="218">
                  <c:v>1212</c:v>
                </c:pt>
                <c:pt idx="219">
                  <c:v>1265</c:v>
                </c:pt>
                <c:pt idx="220">
                  <c:v>1289</c:v>
                </c:pt>
                <c:pt idx="221">
                  <c:v>1311</c:v>
                </c:pt>
                <c:pt idx="222">
                  <c:v>1309</c:v>
                </c:pt>
                <c:pt idx="223">
                  <c:v>1359</c:v>
                </c:pt>
                <c:pt idx="224">
                  <c:v>1373</c:v>
                </c:pt>
                <c:pt idx="225">
                  <c:v>1391</c:v>
                </c:pt>
                <c:pt idx="226">
                  <c:v>1410</c:v>
                </c:pt>
                <c:pt idx="227">
                  <c:v>1448</c:v>
                </c:pt>
                <c:pt idx="228">
                  <c:v>1420</c:v>
                </c:pt>
                <c:pt idx="229">
                  <c:v>1438</c:v>
                </c:pt>
                <c:pt idx="230">
                  <c:v>1499</c:v>
                </c:pt>
                <c:pt idx="231">
                  <c:v>1531</c:v>
                </c:pt>
                <c:pt idx="232">
                  <c:v>1496</c:v>
                </c:pt>
                <c:pt idx="233">
                  <c:v>1513</c:v>
                </c:pt>
                <c:pt idx="234">
                  <c:v>1550</c:v>
                </c:pt>
                <c:pt idx="235">
                  <c:v>1557</c:v>
                </c:pt>
                <c:pt idx="236">
                  <c:v>1515</c:v>
                </c:pt>
                <c:pt idx="237">
                  <c:v>1494</c:v>
                </c:pt>
                <c:pt idx="238">
                  <c:v>1523</c:v>
                </c:pt>
                <c:pt idx="239">
                  <c:v>1559</c:v>
                </c:pt>
                <c:pt idx="240">
                  <c:v>1547</c:v>
                </c:pt>
                <c:pt idx="241">
                  <c:v>1565</c:v>
                </c:pt>
                <c:pt idx="242">
                  <c:v>1596</c:v>
                </c:pt>
                <c:pt idx="243">
                  <c:v>1613</c:v>
                </c:pt>
                <c:pt idx="244">
                  <c:v>1586</c:v>
                </c:pt>
                <c:pt idx="245">
                  <c:v>1557</c:v>
                </c:pt>
                <c:pt idx="246">
                  <c:v>1546</c:v>
                </c:pt>
                <c:pt idx="247">
                  <c:v>1574</c:v>
                </c:pt>
                <c:pt idx="248">
                  <c:v>1593</c:v>
                </c:pt>
                <c:pt idx="249">
                  <c:v>1586</c:v>
                </c:pt>
                <c:pt idx="250">
                  <c:v>1588</c:v>
                </c:pt>
                <c:pt idx="251">
                  <c:v>1586</c:v>
                </c:pt>
                <c:pt idx="252">
                  <c:v>1586</c:v>
                </c:pt>
                <c:pt idx="253">
                  <c:v>1602</c:v>
                </c:pt>
                <c:pt idx="254">
                  <c:v>1577</c:v>
                </c:pt>
                <c:pt idx="255">
                  <c:v>1606</c:v>
                </c:pt>
                <c:pt idx="256">
                  <c:v>1594</c:v>
                </c:pt>
                <c:pt idx="257">
                  <c:v>1596</c:v>
                </c:pt>
                <c:pt idx="258">
                  <c:v>1628</c:v>
                </c:pt>
                <c:pt idx="259">
                  <c:v>1609</c:v>
                </c:pt>
                <c:pt idx="260">
                  <c:v>15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62</c:f>
              <c:numCache>
                <c:formatCode>m/d/yyyy</c:formatCode>
                <c:ptCount val="261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</c:numCache>
            </c:numRef>
          </c:cat>
          <c:val>
            <c:numRef>
              <c:f>Sheet1!$C$2:$C$262</c:f>
              <c:numCache>
                <c:formatCode>#,##0</c:formatCode>
                <c:ptCount val="26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0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0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0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4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chart" Target="../charts/chart2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r>
              <a:rPr lang="cs-CZ" sz="3600" b="1" i="1" dirty="0"/>
              <a:t>- aktualizace 20.05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24158" y="894503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IP lůžka 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243253" y="891399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24948084"/>
              </p:ext>
            </p:extLst>
          </p:nvPr>
        </p:nvGraphicFramePr>
        <p:xfrm>
          <a:off x="6076079" y="992463"/>
          <a:ext cx="5883645" cy="3048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57954201"/>
              </p:ext>
            </p:extLst>
          </p:nvPr>
        </p:nvGraphicFramePr>
        <p:xfrm>
          <a:off x="6095999" y="3984266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24383260"/>
              </p:ext>
            </p:extLst>
          </p:nvPr>
        </p:nvGraphicFramePr>
        <p:xfrm>
          <a:off x="409660" y="3984266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43262695"/>
              </p:ext>
            </p:extLst>
          </p:nvPr>
        </p:nvGraphicFramePr>
        <p:xfrm>
          <a:off x="390497" y="1022379"/>
          <a:ext cx="5883645" cy="296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64418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276707"/>
              </p:ext>
            </p:extLst>
          </p:nvPr>
        </p:nvGraphicFramePr>
        <p:xfrm>
          <a:off x="199580" y="1147680"/>
          <a:ext cx="11792839" cy="5326545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5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55773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11</TotalTime>
  <Words>1039</Words>
  <Application>Microsoft Office PowerPoint</Application>
  <PresentationFormat>Širokoúhlá obrazovka</PresentationFormat>
  <Paragraphs>453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avřel Michal</cp:lastModifiedBy>
  <cp:revision>677</cp:revision>
  <dcterms:created xsi:type="dcterms:W3CDTF">2020-08-08T14:25:07Z</dcterms:created>
  <dcterms:modified xsi:type="dcterms:W3CDTF">2021-05-20T03:41:02Z</dcterms:modified>
</cp:coreProperties>
</file>